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4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2190413" cy="6858000"/>
  <p:notesSz cx="7099300" cy="10234613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55">
          <p15:clr>
            <a:srgbClr val="A4A3A4"/>
          </p15:clr>
        </p15:guide>
        <p15:guide id="2" orient="horz" pos="3884">
          <p15:clr>
            <a:srgbClr val="A4A3A4"/>
          </p15:clr>
        </p15:guide>
        <p15:guide id="3" orient="horz" pos="1344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1253">
          <p15:clr>
            <a:srgbClr val="A4A3A4"/>
          </p15:clr>
        </p15:guide>
        <p15:guide id="6" orient="horz" pos="981">
          <p15:clr>
            <a:srgbClr val="A4A3A4"/>
          </p15:clr>
        </p15:guide>
        <p15:guide id="7" orient="horz" pos="380">
          <p15:clr>
            <a:srgbClr val="A4A3A4"/>
          </p15:clr>
        </p15:guide>
        <p15:guide id="8" pos="3840">
          <p15:clr>
            <a:srgbClr val="A4A3A4"/>
          </p15:clr>
        </p15:guide>
        <p15:guide id="9" pos="3726">
          <p15:clr>
            <a:srgbClr val="A4A3A4"/>
          </p15:clr>
        </p15:guide>
        <p15:guide id="10" pos="3952">
          <p15:clr>
            <a:srgbClr val="A4A3A4"/>
          </p15:clr>
        </p15:guide>
        <p15:guide id="11" pos="7377">
          <p15:clr>
            <a:srgbClr val="A4A3A4"/>
          </p15:clr>
        </p15:guide>
        <p15:guide id="12" pos="301">
          <p15:clr>
            <a:srgbClr val="A4A3A4"/>
          </p15:clr>
        </p15:guide>
        <p15:guide id="13" pos="5245">
          <p15:clr>
            <a:srgbClr val="A4A3A4"/>
          </p15:clr>
        </p15:guide>
        <p15:guide id="14" pos="515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EB00"/>
    <a:srgbClr val="C8C8C8"/>
    <a:srgbClr val="3399FF"/>
    <a:srgbClr val="3F3F3F"/>
    <a:srgbClr val="FFFFFF"/>
    <a:srgbClr val="000000"/>
    <a:srgbClr val="646464"/>
    <a:srgbClr val="00C400"/>
    <a:srgbClr val="808080"/>
    <a:srgbClr val="33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82215" autoAdjust="0"/>
  </p:normalViewPr>
  <p:slideViewPr>
    <p:cSldViewPr snapToGrid="0" showGuides="1">
      <p:cViewPr varScale="1">
        <p:scale>
          <a:sx n="98" d="100"/>
          <a:sy n="98" d="100"/>
        </p:scale>
        <p:origin x="324" y="90"/>
      </p:cViewPr>
      <p:guideLst>
        <p:guide orient="horz" pos="2455"/>
        <p:guide orient="horz" pos="3884"/>
        <p:guide orient="horz" pos="1344"/>
        <p:guide orient="horz" pos="1117"/>
        <p:guide orient="horz" pos="1253"/>
        <p:guide orient="horz" pos="981"/>
        <p:guide orient="horz" pos="380"/>
        <p:guide pos="3840"/>
        <p:guide pos="3726"/>
        <p:guide pos="3952"/>
        <p:guide pos="7377"/>
        <p:guide pos="301"/>
        <p:guide pos="5245"/>
        <p:guide pos="515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2" d="100"/>
          <a:sy n="72" d="100"/>
        </p:scale>
        <p:origin x="-2971" y="-8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1AB7826C-0037-4E0C-85F8-D1AC22596C3F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A6F8198E-FC5A-4362-877D-13CFC2C5B24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0736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F3AE2057-89B3-46E1-8C67-7582BBDD1775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A6A858B-6757-4071-9DFA-EFD451CF16B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79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6A858B-6757-4071-9DFA-EFD451CF16B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998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281" y="2130430"/>
            <a:ext cx="1036185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562" y="3886200"/>
            <a:ext cx="853328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828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1909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84069" y="274639"/>
            <a:ext cx="3655008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2694" y="274639"/>
            <a:ext cx="10768198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046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63" y="2133600"/>
            <a:ext cx="11230538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12805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customer/partn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1026" cy="685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 rot="10800000">
            <a:off x="0" y="5587201"/>
            <a:ext cx="12190413" cy="1296145"/>
          </a:xfrm>
          <a:prstGeom prst="rect">
            <a:avLst/>
          </a:prstGeom>
          <a:gradFill>
            <a:gsLst>
              <a:gs pos="0">
                <a:srgbClr val="273339">
                  <a:lumMod val="71000"/>
                </a:srgbClr>
              </a:gs>
              <a:gs pos="100000">
                <a:srgbClr val="273339">
                  <a:alpha val="0"/>
                </a:srgb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77838" y="5160396"/>
            <a:ext cx="1311205" cy="128811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US" sz="1600" dirty="0" err="1">
              <a:solidFill>
                <a:srgbClr val="3F3F3F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77838" y="5160963"/>
            <a:ext cx="1311275" cy="1287462"/>
          </a:xfrm>
        </p:spPr>
        <p:txBody>
          <a:bodyPr/>
          <a:lstStyle>
            <a:lvl1pPr marL="72000" indent="0">
              <a:spcBef>
                <a:spcPts val="1200"/>
              </a:spcBef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27833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686" y="1"/>
            <a:ext cx="1613135" cy="1666441"/>
          </a:xfrm>
          <a:prstGeom prst="rect">
            <a:avLst/>
          </a:prstGeom>
        </p:spPr>
      </p:pic>
      <p:sp>
        <p:nvSpPr>
          <p:cNvPr id="25" name="Text Placehold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363" y="2959200"/>
            <a:ext cx="40674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dat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363" y="2714400"/>
            <a:ext cx="40674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er’s name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362" y="402684"/>
            <a:ext cx="8351713" cy="118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4400" b="1" i="0" baseline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540000" indent="-540000">
              <a:defRPr sz="4400" b="1">
                <a:solidFill>
                  <a:schemeClr val="bg1"/>
                </a:solidFill>
              </a:defRPr>
            </a:lvl2pPr>
            <a:lvl3pPr marL="1080000" indent="-540000">
              <a:defRPr sz="4400" b="1">
                <a:solidFill>
                  <a:schemeClr val="bg1"/>
                </a:solidFill>
              </a:defRPr>
            </a:lvl3pPr>
            <a:lvl4pPr marL="1620000" indent="-540000">
              <a:defRPr sz="4400" b="1">
                <a:solidFill>
                  <a:schemeClr val="bg1"/>
                </a:solidFill>
              </a:defRPr>
            </a:lvl4pPr>
            <a:lvl5pPr marL="2160000" indent="-540000">
              <a:defRPr sz="4400" b="1">
                <a:solidFill>
                  <a:schemeClr val="bg1"/>
                </a:solidFill>
              </a:defRPr>
            </a:lvl5pPr>
            <a:lvl6pPr marL="2700000" indent="-540000">
              <a:defRPr sz="4400" b="1">
                <a:solidFill>
                  <a:schemeClr val="bg1"/>
                </a:solidFill>
              </a:defRPr>
            </a:lvl6pPr>
            <a:lvl7pPr marL="3240000" indent="-540000">
              <a:defRPr sz="4400" b="1">
                <a:solidFill>
                  <a:schemeClr val="bg1"/>
                </a:solidFill>
              </a:defRPr>
            </a:lvl7pPr>
            <a:lvl8pPr marL="3780000" indent="-540000">
              <a:defRPr sz="4400" b="1">
                <a:solidFill>
                  <a:schemeClr val="bg1"/>
                </a:solidFill>
              </a:defRPr>
            </a:lvl8pPr>
            <a:lvl9pPr marL="4320000" indent="-540000">
              <a:buFont typeface="Arial" pitchFamily="34" charset="0"/>
              <a:buChar char="•"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955800" y="5948363"/>
            <a:ext cx="3649663" cy="5000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name of customer or partner </a:t>
            </a:r>
          </a:p>
        </p:txBody>
      </p:sp>
    </p:spTree>
    <p:extLst>
      <p:ext uri="{BB962C8B-B14F-4D97-AF65-F5344CB8AC3E}">
        <p14:creationId xmlns:p14="http://schemas.microsoft.com/office/powerpoint/2010/main" val="18457369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customer/partner logo">
    <p:bg>
      <p:bgPr>
        <a:solidFill>
          <a:srgbClr val="3F3F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93" y="3017520"/>
            <a:ext cx="12190414" cy="38404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8253" y="655942"/>
            <a:ext cx="1036185" cy="144475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363" y="2230812"/>
            <a:ext cx="79189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dat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363" y="1963656"/>
            <a:ext cx="79189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er’s nam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363" y="402684"/>
            <a:ext cx="7918969" cy="118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4400" b="1" i="0" baseline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540000" indent="-540000">
              <a:defRPr sz="4400" b="1">
                <a:solidFill>
                  <a:schemeClr val="bg1"/>
                </a:solidFill>
              </a:defRPr>
            </a:lvl2pPr>
            <a:lvl3pPr marL="1080000" indent="-540000">
              <a:defRPr sz="4400" b="1">
                <a:solidFill>
                  <a:schemeClr val="bg1"/>
                </a:solidFill>
              </a:defRPr>
            </a:lvl3pPr>
            <a:lvl4pPr marL="1620000" indent="-540000">
              <a:defRPr sz="4400" b="1">
                <a:solidFill>
                  <a:schemeClr val="bg1"/>
                </a:solidFill>
              </a:defRPr>
            </a:lvl4pPr>
            <a:lvl5pPr marL="2160000" indent="-540000">
              <a:defRPr sz="4400" b="1">
                <a:solidFill>
                  <a:schemeClr val="bg1"/>
                </a:solidFill>
              </a:defRPr>
            </a:lvl5pPr>
            <a:lvl6pPr marL="2700000" indent="-540000">
              <a:defRPr sz="4400" b="1">
                <a:solidFill>
                  <a:schemeClr val="bg1"/>
                </a:solidFill>
              </a:defRPr>
            </a:lvl6pPr>
            <a:lvl7pPr marL="3240000" indent="-540000">
              <a:defRPr sz="4400" b="1">
                <a:solidFill>
                  <a:schemeClr val="bg1"/>
                </a:solidFill>
              </a:defRPr>
            </a:lvl7pPr>
            <a:lvl8pPr marL="3780000" indent="-540000">
              <a:defRPr sz="4400" b="1">
                <a:solidFill>
                  <a:schemeClr val="bg1"/>
                </a:solidFill>
              </a:defRPr>
            </a:lvl8pPr>
            <a:lvl9pPr marL="4320000" indent="-540000">
              <a:buFont typeface="Arial" pitchFamily="34" charset="0"/>
              <a:buChar char="•"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ation titl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77838" y="5160396"/>
            <a:ext cx="1311205" cy="128811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US" sz="1600" dirty="0" err="1">
              <a:solidFill>
                <a:srgbClr val="3F3F3F"/>
              </a:solidFill>
            </a:endParaRP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77838" y="5160963"/>
            <a:ext cx="1311275" cy="1287462"/>
          </a:xfrm>
        </p:spPr>
        <p:txBody>
          <a:bodyPr/>
          <a:lstStyle>
            <a:lvl1pPr marL="72000" indent="0">
              <a:spcBef>
                <a:spcPts val="1200"/>
              </a:spcBef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556593" y="5239910"/>
            <a:ext cx="1025718" cy="230832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de-DE" sz="900" dirty="0"/>
              <a:t>In </a:t>
            </a:r>
            <a:r>
              <a:rPr lang="de-DE" sz="900" dirty="0" err="1"/>
              <a:t>cooperation</a:t>
            </a:r>
            <a:r>
              <a:rPr lang="de-DE" sz="900" dirty="0"/>
              <a:t> </a:t>
            </a:r>
            <a:r>
              <a:rPr lang="de-DE" sz="900" dirty="0" err="1"/>
              <a:t>with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286492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33" hasCustomPrompt="1"/>
          </p:nvPr>
        </p:nvSpPr>
        <p:spPr>
          <a:xfrm>
            <a:off x="479363" y="2601750"/>
            <a:ext cx="11230538" cy="3564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. </a:t>
            </a:r>
            <a:r>
              <a:rPr lang="en-US" sz="1200" dirty="0">
                <a:solidFill>
                  <a:srgbClr val="FF0000"/>
                </a:solidFill>
              </a:rPr>
              <a:t>You find pictures with the correct proportions in this folder: N:\share\marketing\artwork\Images\keyvisuals_25,46x9,46cm-landscape</a:t>
            </a:r>
          </a:p>
          <a:p>
            <a:endParaRPr lang="en-US" sz="1200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2" y="1695600"/>
            <a:ext cx="11231625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352498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227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60" y="4406905"/>
            <a:ext cx="1036185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60" y="2906713"/>
            <a:ext cx="1036185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5796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2698" y="1600204"/>
            <a:ext cx="721054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6413" y="1600204"/>
            <a:ext cx="721266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1234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21" y="1535113"/>
            <a:ext cx="538621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21" y="2174875"/>
            <a:ext cx="538621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561" y="1535113"/>
            <a:ext cx="53883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561" y="2174875"/>
            <a:ext cx="53883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5524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072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9083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1" y="273050"/>
            <a:ext cx="401056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113" y="273052"/>
            <a:ext cx="681477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21" y="1435102"/>
            <a:ext cx="401056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417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406" y="4800600"/>
            <a:ext cx="731424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406" y="612775"/>
            <a:ext cx="731424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406" y="5367338"/>
            <a:ext cx="731424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41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21" y="1600204"/>
            <a:ext cx="1097137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520" y="6356355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75C0CA-56C6-4901-8211-A814B4081DA7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058" y="6356355"/>
            <a:ext cx="38602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463" y="6356355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EE614D-3C0A-4F8E-9274-7A8A393B997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26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36" r:id="rId13"/>
    <p:sldLayoutId id="2147483837" r:id="rId14"/>
    <p:sldLayoutId id="2147483794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microsoft.com/office/2007/relationships/hdphoto" Target="../media/hdphoto1.wdp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001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235836" y="4118505"/>
            <a:ext cx="1741217" cy="1630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0675" y="4366760"/>
            <a:ext cx="1476158" cy="1382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7" name="Group 56"/>
          <p:cNvGrpSpPr/>
          <p:nvPr/>
        </p:nvGrpSpPr>
        <p:grpSpPr>
          <a:xfrm>
            <a:off x="6921274" y="534061"/>
            <a:ext cx="1336676" cy="1552834"/>
            <a:chOff x="3860800" y="210820"/>
            <a:chExt cx="2479674" cy="2603377"/>
          </a:xfrm>
        </p:grpSpPr>
        <p:pic>
          <p:nvPicPr>
            <p:cNvPr id="41991" name="Picture 7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286" r="-5286"/>
            <a:stretch/>
          </p:blipFill>
          <p:spPr bwMode="auto">
            <a:xfrm rot="14248033">
              <a:off x="4097899" y="571623"/>
              <a:ext cx="2533637" cy="1951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6" name="Rectangle 55"/>
            <p:cNvSpPr/>
            <p:nvPr/>
          </p:nvSpPr>
          <p:spPr>
            <a:xfrm>
              <a:off x="3860800" y="284480"/>
              <a:ext cx="1046480" cy="23977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4013200" y="210820"/>
              <a:ext cx="2082800" cy="3860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198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0"/>
          <a:stretch/>
        </p:blipFill>
        <p:spPr bwMode="auto">
          <a:xfrm>
            <a:off x="1172845" y="3215004"/>
            <a:ext cx="3898900" cy="267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9" y="4504749"/>
            <a:ext cx="1454574" cy="108160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98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281" y="192114"/>
            <a:ext cx="1874052" cy="1704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Elbow Connector 6"/>
          <p:cNvCxnSpPr>
            <a:stCxn id="154" idx="0"/>
            <a:endCxn id="159" idx="2"/>
          </p:cNvCxnSpPr>
          <p:nvPr/>
        </p:nvCxnSpPr>
        <p:spPr>
          <a:xfrm rot="16200000" flipV="1">
            <a:off x="756217" y="2689655"/>
            <a:ext cx="1496749" cy="189185"/>
          </a:xfrm>
          <a:prstGeom prst="bentConnector3">
            <a:avLst>
              <a:gd name="adj1" fmla="val 17927"/>
            </a:avLst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2" name="Elbow Connector 11"/>
          <p:cNvCxnSpPr>
            <a:stCxn id="151" idx="0"/>
            <a:endCxn id="158" idx="2"/>
          </p:cNvCxnSpPr>
          <p:nvPr/>
        </p:nvCxnSpPr>
        <p:spPr>
          <a:xfrm rot="16200000" flipV="1">
            <a:off x="1329496" y="2198674"/>
            <a:ext cx="1499287" cy="1173688"/>
          </a:xfrm>
          <a:prstGeom prst="bentConnector3">
            <a:avLst>
              <a:gd name="adj1" fmla="val 25350"/>
            </a:avLst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41990" name="Picture 6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8886" b="96756" l="10470" r="9771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57" t="8264"/>
          <a:stretch/>
        </p:blipFill>
        <p:spPr bwMode="auto">
          <a:xfrm rot="6902171">
            <a:off x="5441902" y="390021"/>
            <a:ext cx="2134780" cy="2000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809933" y="1758306"/>
            <a:ext cx="1059507" cy="2308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rIns="0" rtlCol="0">
            <a:spAutoFit/>
          </a:bodyPr>
          <a:lstStyle/>
          <a:p>
            <a:pPr algn="ctr"/>
            <a:r>
              <a:rPr lang="en-US" sz="900" dirty="0"/>
              <a:t>2-Wire Reed contact </a:t>
            </a:r>
          </a:p>
        </p:txBody>
      </p:sp>
      <p:cxnSp>
        <p:nvCxnSpPr>
          <p:cNvPr id="25" name="Elbow Connector 24"/>
          <p:cNvCxnSpPr>
            <a:stCxn id="150" idx="0"/>
            <a:endCxn id="140" idx="1"/>
          </p:cNvCxnSpPr>
          <p:nvPr/>
        </p:nvCxnSpPr>
        <p:spPr>
          <a:xfrm rot="5400000" flipH="1" flipV="1">
            <a:off x="2572132" y="783075"/>
            <a:ext cx="1858897" cy="3640201"/>
          </a:xfrm>
          <a:prstGeom prst="bentConnector2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3" name="Elbow Connector 32"/>
          <p:cNvCxnSpPr>
            <a:stCxn id="147" idx="0"/>
            <a:endCxn id="143" idx="1"/>
          </p:cNvCxnSpPr>
          <p:nvPr/>
        </p:nvCxnSpPr>
        <p:spPr>
          <a:xfrm rot="5400000" flipH="1" flipV="1">
            <a:off x="3867948" y="2076225"/>
            <a:ext cx="1431723" cy="1470912"/>
          </a:xfrm>
          <a:prstGeom prst="bentConnector2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stCxn id="149" idx="0"/>
            <a:endCxn id="141" idx="1"/>
          </p:cNvCxnSpPr>
          <p:nvPr/>
        </p:nvCxnSpPr>
        <p:spPr>
          <a:xfrm rot="5400000" flipH="1" flipV="1">
            <a:off x="3206732" y="1433052"/>
            <a:ext cx="1707679" cy="2497582"/>
          </a:xfrm>
          <a:prstGeom prst="bentConnector2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aphicFrame>
        <p:nvGraphicFramePr>
          <p:cNvPr id="15" name="Content Placeholder 14"/>
          <p:cNvGraphicFramePr>
            <a:graphicFrameLocks noGrp="1"/>
          </p:cNvGraphicFramePr>
          <p:nvPr>
            <p:ph sz="quarter" idx="37"/>
            <p:extLst>
              <p:ext uri="{D42A27DB-BD31-4B8C-83A1-F6EECF244321}">
                <p14:modId xmlns:p14="http://schemas.microsoft.com/office/powerpoint/2010/main" val="1259727877"/>
              </p:ext>
            </p:extLst>
          </p:nvPr>
        </p:nvGraphicFramePr>
        <p:xfrm>
          <a:off x="5379720" y="1615156"/>
          <a:ext cx="341989" cy="5625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9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GND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IN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IN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5V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61" name="Content Placeholder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8000792"/>
              </p:ext>
            </p:extLst>
          </p:nvPr>
        </p:nvGraphicFramePr>
        <p:xfrm>
          <a:off x="8435338" y="2421"/>
          <a:ext cx="1025967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9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9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19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ysClr val="windowText" lastClr="000000"/>
                          </a:solidFill>
                        </a:rPr>
                        <a:t>GND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</a:rPr>
                        <a:t>L1 - 220V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2" name="Content Placeholder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5645763"/>
              </p:ext>
            </p:extLst>
          </p:nvPr>
        </p:nvGraphicFramePr>
        <p:xfrm>
          <a:off x="8010980" y="909330"/>
          <a:ext cx="341989" cy="4219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9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NC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VCC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NO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69" name="Content Placeholder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7810905"/>
              </p:ext>
            </p:extLst>
          </p:nvPr>
        </p:nvGraphicFramePr>
        <p:xfrm>
          <a:off x="8010980" y="1464156"/>
          <a:ext cx="341989" cy="4219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9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NC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VCC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649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NO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83" name="Elbow Connector 82"/>
          <p:cNvCxnSpPr>
            <a:stCxn id="112" idx="1"/>
          </p:cNvCxnSpPr>
          <p:nvPr/>
        </p:nvCxnSpPr>
        <p:spPr>
          <a:xfrm rot="10800000">
            <a:off x="9357496" y="386902"/>
            <a:ext cx="97279" cy="5066912"/>
          </a:xfrm>
          <a:prstGeom prst="bentConnector2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Elbow Connector 91"/>
          <p:cNvCxnSpPr>
            <a:stCxn id="110" idx="1"/>
            <a:endCxn id="93" idx="2"/>
          </p:cNvCxnSpPr>
          <p:nvPr/>
        </p:nvCxnSpPr>
        <p:spPr>
          <a:xfrm rot="10800000">
            <a:off x="8616317" y="386901"/>
            <a:ext cx="829569" cy="4875690"/>
          </a:xfrm>
          <a:prstGeom prst="bentConnector2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/>
        </p:nvSpPr>
        <p:spPr>
          <a:xfrm>
            <a:off x="8593456" y="341182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ectangle 101"/>
          <p:cNvSpPr/>
          <p:nvPr/>
        </p:nvSpPr>
        <p:spPr>
          <a:xfrm>
            <a:off x="8905876" y="341182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102"/>
          <p:cNvSpPr/>
          <p:nvPr/>
        </p:nvSpPr>
        <p:spPr>
          <a:xfrm>
            <a:off x="9233535" y="339463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9326630" y="339462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9440170" y="5045553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9445885" y="5239731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8362381" y="951102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9454774" y="5430954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8356985" y="1096515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/>
        </p:nvSpPr>
        <p:spPr>
          <a:xfrm>
            <a:off x="8374573" y="1239138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7" name="Elbow Connector 116"/>
          <p:cNvCxnSpPr>
            <a:stCxn id="109" idx="1"/>
            <a:endCxn id="116" idx="3"/>
          </p:cNvCxnSpPr>
          <p:nvPr/>
        </p:nvCxnSpPr>
        <p:spPr>
          <a:xfrm rot="10800000">
            <a:off x="8420292" y="1261999"/>
            <a:ext cx="1019878" cy="3806415"/>
          </a:xfrm>
          <a:prstGeom prst="bentConnector3">
            <a:avLst>
              <a:gd name="adj1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0" name="Elbow Connector 119"/>
          <p:cNvCxnSpPr>
            <a:stCxn id="103" idx="2"/>
            <a:endCxn id="42005" idx="0"/>
          </p:cNvCxnSpPr>
          <p:nvPr/>
        </p:nvCxnSpPr>
        <p:spPr>
          <a:xfrm rot="5400000">
            <a:off x="8830042" y="530845"/>
            <a:ext cx="572016" cy="280691"/>
          </a:xfrm>
          <a:prstGeom prst="bentConnector3">
            <a:avLst>
              <a:gd name="adj1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2000" name="Rectangle 41999"/>
          <p:cNvSpPr/>
          <p:nvPr/>
        </p:nvSpPr>
        <p:spPr>
          <a:xfrm>
            <a:off x="4640146" y="-30162"/>
            <a:ext cx="5308608" cy="2950520"/>
          </a:xfrm>
          <a:prstGeom prst="rect">
            <a:avLst/>
          </a:prstGeom>
          <a:noFill/>
          <a:ln w="57150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/>
          </a:p>
        </p:txBody>
      </p:sp>
      <p:sp>
        <p:nvSpPr>
          <p:cNvPr id="42005" name="TextBox 42004"/>
          <p:cNvSpPr txBox="1"/>
          <p:nvPr/>
        </p:nvSpPr>
        <p:spPr>
          <a:xfrm>
            <a:off x="8717873" y="957198"/>
            <a:ext cx="515662" cy="12311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/>
              <a:t>F1A/250V</a:t>
            </a:r>
          </a:p>
        </p:txBody>
      </p:sp>
      <p:cxnSp>
        <p:nvCxnSpPr>
          <p:cNvPr id="130" name="Elbow Connector 129"/>
          <p:cNvCxnSpPr>
            <a:stCxn id="42005" idx="1"/>
            <a:endCxn id="115" idx="3"/>
          </p:cNvCxnSpPr>
          <p:nvPr/>
        </p:nvCxnSpPr>
        <p:spPr>
          <a:xfrm rot="10800000" flipV="1">
            <a:off x="8402705" y="1018753"/>
            <a:ext cx="315169" cy="100621"/>
          </a:xfrm>
          <a:prstGeom prst="bentConnector3">
            <a:avLst>
              <a:gd name="adj1" fmla="val 50000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2013" name="TextBox 42012"/>
          <p:cNvSpPr txBox="1"/>
          <p:nvPr/>
        </p:nvSpPr>
        <p:spPr>
          <a:xfrm>
            <a:off x="4591924" y="-58630"/>
            <a:ext cx="23444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P65- </a:t>
            </a:r>
            <a:r>
              <a:rPr lang="en-US" dirty="0" err="1"/>
              <a:t>Sicherungskasten</a:t>
            </a:r>
            <a:endParaRPr lang="en-US" dirty="0"/>
          </a:p>
        </p:txBody>
      </p:sp>
      <p:sp>
        <p:nvSpPr>
          <p:cNvPr id="140" name="Rectangle 139"/>
          <p:cNvSpPr/>
          <p:nvPr/>
        </p:nvSpPr>
        <p:spPr>
          <a:xfrm>
            <a:off x="5321681" y="1650866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Rectangle 140"/>
          <p:cNvSpPr/>
          <p:nvPr/>
        </p:nvSpPr>
        <p:spPr>
          <a:xfrm>
            <a:off x="5309362" y="1805143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tangle 141"/>
          <p:cNvSpPr/>
          <p:nvPr/>
        </p:nvSpPr>
        <p:spPr>
          <a:xfrm>
            <a:off x="5311393" y="1943419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Rectangle 142"/>
          <p:cNvSpPr/>
          <p:nvPr/>
        </p:nvSpPr>
        <p:spPr>
          <a:xfrm>
            <a:off x="5319265" y="2072959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Rectangle 146"/>
          <p:cNvSpPr/>
          <p:nvPr/>
        </p:nvSpPr>
        <p:spPr>
          <a:xfrm>
            <a:off x="3825493" y="3527542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Rectangle 148"/>
          <p:cNvSpPr/>
          <p:nvPr/>
        </p:nvSpPr>
        <p:spPr>
          <a:xfrm>
            <a:off x="2788920" y="3535682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Rectangle 149"/>
          <p:cNvSpPr/>
          <p:nvPr/>
        </p:nvSpPr>
        <p:spPr>
          <a:xfrm>
            <a:off x="1658620" y="3532623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ectangle 150"/>
          <p:cNvSpPr/>
          <p:nvPr/>
        </p:nvSpPr>
        <p:spPr>
          <a:xfrm>
            <a:off x="2643123" y="3535161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Rectangle 153"/>
          <p:cNvSpPr/>
          <p:nvPr/>
        </p:nvSpPr>
        <p:spPr>
          <a:xfrm>
            <a:off x="1576323" y="3532622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 157"/>
          <p:cNvSpPr/>
          <p:nvPr/>
        </p:nvSpPr>
        <p:spPr>
          <a:xfrm>
            <a:off x="1469435" y="1990155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Rectangle 158"/>
          <p:cNvSpPr/>
          <p:nvPr/>
        </p:nvSpPr>
        <p:spPr>
          <a:xfrm>
            <a:off x="1387138" y="1990154"/>
            <a:ext cx="45719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/>
        </p:nvSpPr>
        <p:spPr>
          <a:xfrm>
            <a:off x="902566" y="5885179"/>
            <a:ext cx="2922927" cy="812501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aspberry Pi 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3982362" y="6175440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WiFi</a:t>
            </a:r>
            <a:endParaRPr lang="en-US" dirty="0"/>
          </a:p>
        </p:txBody>
      </p:sp>
      <p:sp>
        <p:nvSpPr>
          <p:cNvPr id="53" name="TextBox 118">
            <a:extLst>
              <a:ext uri="{FF2B5EF4-FFF2-40B4-BE49-F238E27FC236}">
                <a16:creationId xmlns:a16="http://schemas.microsoft.com/office/drawing/2014/main" id="{E263863D-DE4B-4648-97D4-7D040F342BBC}"/>
              </a:ext>
            </a:extLst>
          </p:cNvPr>
          <p:cNvSpPr txBox="1"/>
          <p:nvPr/>
        </p:nvSpPr>
        <p:spPr>
          <a:xfrm>
            <a:off x="4729627" y="6190218"/>
            <a:ext cx="3231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ym typeface="Wingdings" panose="05000000000000000000" pitchFamily="2" charset="2"/>
              </a:rPr>
              <a:t> MQTT -&gt; AWS IoT  </a:t>
            </a:r>
            <a:r>
              <a:rPr lang="en-US" dirty="0" err="1">
                <a:sym typeface="Wingdings" panose="05000000000000000000" pitchFamily="2" charset="2"/>
              </a:rPr>
              <a:t>InfluxDB</a:t>
            </a:r>
            <a:endParaRPr lang="en-US" dirty="0"/>
          </a:p>
        </p:txBody>
      </p:sp>
      <p:sp>
        <p:nvSpPr>
          <p:cNvPr id="54" name="TextBox 118">
            <a:extLst>
              <a:ext uri="{FF2B5EF4-FFF2-40B4-BE49-F238E27FC236}">
                <a16:creationId xmlns:a16="http://schemas.microsoft.com/office/drawing/2014/main" id="{C66D0398-0198-4679-90E0-0DF652B8414B}"/>
              </a:ext>
            </a:extLst>
          </p:cNvPr>
          <p:cNvSpPr txBox="1"/>
          <p:nvPr/>
        </p:nvSpPr>
        <p:spPr>
          <a:xfrm>
            <a:off x="4740678" y="6474478"/>
            <a:ext cx="47991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ym typeface="Wingdings" panose="05000000000000000000" pitchFamily="2" charset="2"/>
              </a:rPr>
              <a:t>Close main water  </a:t>
            </a:r>
            <a:r>
              <a:rPr lang="en-US" dirty="0" err="1">
                <a:sym typeface="Wingdings" panose="05000000000000000000" pitchFamily="2" charset="2"/>
              </a:rPr>
              <a:t>Relais</a:t>
            </a:r>
            <a:r>
              <a:rPr lang="en-US" dirty="0">
                <a:sym typeface="Wingdings" panose="05000000000000000000" pitchFamily="2" charset="2"/>
              </a:rPr>
              <a:t>  MQTT  Anomaly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51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Elektrobit">
      <a:dk1>
        <a:srgbClr val="3F3F3F"/>
      </a:dk1>
      <a:lt1>
        <a:srgbClr val="FFFFFF"/>
      </a:lt1>
      <a:dk2>
        <a:srgbClr val="000000"/>
      </a:dk2>
      <a:lt2>
        <a:srgbClr val="FFFFFF"/>
      </a:lt2>
      <a:accent1>
        <a:srgbClr val="646464"/>
      </a:accent1>
      <a:accent2>
        <a:srgbClr val="00EB00"/>
      </a:accent2>
      <a:accent3>
        <a:srgbClr val="C8C8C8"/>
      </a:accent3>
      <a:accent4>
        <a:srgbClr val="00C400"/>
      </a:accent4>
      <a:accent5>
        <a:srgbClr val="808080"/>
      </a:accent5>
      <a:accent6>
        <a:srgbClr val="339933"/>
      </a:accent6>
      <a:hlink>
        <a:srgbClr val="003366"/>
      </a:hlink>
      <a:folHlink>
        <a:srgbClr val="3399FF"/>
      </a:folHlink>
    </a:clrScheme>
    <a:fontScheme name="Calibri Light - Calibri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Elektrobit">
      <a:dk1>
        <a:srgbClr val="3F3F3F"/>
      </a:dk1>
      <a:lt1>
        <a:srgbClr val="FFFFFF"/>
      </a:lt1>
      <a:dk2>
        <a:srgbClr val="000000"/>
      </a:dk2>
      <a:lt2>
        <a:srgbClr val="FFFFFF"/>
      </a:lt2>
      <a:accent1>
        <a:srgbClr val="646464"/>
      </a:accent1>
      <a:accent2>
        <a:srgbClr val="00EB00"/>
      </a:accent2>
      <a:accent3>
        <a:srgbClr val="C8C8C8"/>
      </a:accent3>
      <a:accent4>
        <a:srgbClr val="00C400"/>
      </a:accent4>
      <a:accent5>
        <a:srgbClr val="808080"/>
      </a:accent5>
      <a:accent6>
        <a:srgbClr val="339933"/>
      </a:accent6>
      <a:hlink>
        <a:srgbClr val="003366"/>
      </a:hlink>
      <a:folHlink>
        <a:srgbClr val="3399FF"/>
      </a:folHlink>
    </a:clrScheme>
    <a:fontScheme name="Calibri Light - Calibri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3</Words>
  <Application>Microsoft Office PowerPoint</Application>
  <PresentationFormat>Benutzerdefiniert</PresentationFormat>
  <Paragraphs>21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Wingdings</vt:lpstr>
      <vt:lpstr>Office Theme</vt:lpstr>
      <vt:lpstr>think-cell Folie</vt:lpstr>
      <vt:lpstr>PowerPoint-Präsentation</vt:lpstr>
    </vt:vector>
  </TitlesOfParts>
  <Company>Elektrobit Automotive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leischmann, Thomas</dc:creator>
  <cp:lastModifiedBy>Tom</cp:lastModifiedBy>
  <cp:revision>10</cp:revision>
  <cp:lastPrinted>2017-02-28T08:49:29Z</cp:lastPrinted>
  <dcterms:created xsi:type="dcterms:W3CDTF">2018-01-17T08:38:16Z</dcterms:created>
  <dcterms:modified xsi:type="dcterms:W3CDTF">2018-01-23T22:21:12Z</dcterms:modified>
</cp:coreProperties>
</file>